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0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EF-4A0B-9668-978582F6C2D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EF-4A0B-9668-978582F6C2D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7EF-4A0B-9668-978582F6C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F5-4EAD-85CC-ACB5E6DDED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F5-4EAD-85CC-ACB5E6DDED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F5-4EAD-85CC-ACB5E6DDE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FCF87-57ED-7E04-7FC7-37044AEFC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DCF5A1-B7AD-917B-EC54-101B088E5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DCF5A1-B7AD-917B-EC54-101B088E5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58DACC5-9266-AC71-8FE8-40988E5C4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Line / 100% Stacked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EEBDB06-9477-E631-B4CA-0FF2FA68C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3783BB8-6753-7A80-E0BA-310F0393A4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B5272D3-B5AD-2942-660F-17550DA92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25640019-4B19-2B58-7630-9272357351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4E8E1E8E-16B5-A120-1AFA-F5141A0593AD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7">
            <a:extLst>
              <a:ext uri="{FF2B5EF4-FFF2-40B4-BE49-F238E27FC236}">
                <a16:creationId xmlns:a16="http://schemas.microsoft.com/office/drawing/2014/main" id="{B9C85524-ED49-3F64-4F86-4B263FC59D30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51421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5</TotalTime>
  <Words>25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Line / 100% Stacked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18</cp:revision>
  <dcterms:created xsi:type="dcterms:W3CDTF">2025-07-09T10:57:17Z</dcterms:created>
  <dcterms:modified xsi:type="dcterms:W3CDTF">2025-10-22T10:00:19Z</dcterms:modified>
  <cp:category/>
</cp:coreProperties>
</file>